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notesSlides/notesSlide18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.xml" ContentType="application/vnd.openxmlformats-officedocument.presentationml.notesSlide+xml"/>
  <Override PartName="/ppt/slides/slide19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18.xml" ContentType="application/vnd.openxmlformats-officedocument.presentationml.slide+xml"/>
  <Override PartName="/ppt/notesSlides/notesSlide19.xml" ContentType="application/vnd.openxmlformats-officedocument.presentationml.notesSlide+xml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slides/slide20.xml" ContentType="application/vnd.openxmlformats-officedocument.presentationml.slide+xml"/>
  <Override PartName="/ppt/slides/slide11.xml" ContentType="application/vnd.openxmlformats-officedocument.presentationml.slide+xml"/>
  <Override PartName="/ppt/notesSlides/notesSlide11.xml" ContentType="application/vnd.openxmlformats-officedocument.presentationml.notes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1.xml" ContentType="application/vnd.openxmlformats-officedocument.presentationml.slide+xml"/>
  <Override PartName="/ppt/notesSlides/notesSlide14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9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5.xml" ContentType="application/vnd.openxmlformats-officedocument.presentationml.slide+xml"/>
  <Override PartName="/ppt/notesSlides/notesSlide20.xml" ContentType="application/vnd.openxmlformats-officedocument.presentationml.notesSlide+xml"/>
  <Override PartName="/ppt/slides/slide15.xml" ContentType="application/vnd.openxmlformats-officedocument.presentationml.slide+xml"/>
  <Override PartName="/ppt/slides/slide1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notesSlides/notesSlide17.xml" ContentType="application/vnd.openxmlformats-officedocument.presentationml.notesSlid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s/slide16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slideLayouts/slideLayout6.xml" ContentType="application/vnd.openxmlformats-officedocument.presentationml.slideLayout+xml"/>
  <Override PartName="/ppt/presProps.xml" ContentType="application/vnd.openxmlformats-officedocument.presentationml.presProps+xml"/>
  <Override PartName="/ppt/notesSlides/notesSlide12.xml" ContentType="application/vnd.openxmlformats-officedocument.presentationml.notesSlide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notesMasterIdLst>
    <p:notesMasterId r:id="rId24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70" d="100"/>
          <a:sy n="70" d="100"/>
        </p:scale>
        <p:origin x="603" y="24"/>
      </p:cViewPr>
      <p:guideLst>
        <p:guide pos="3840"/>
        <p:guide pos="2160" orient="horz"/>
      </p:guideLst>
    </p:cSldViewPr>
  </p:slideViewPr>
  <p:gridSpacing cx="76200" cy="76200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notesMaster" Target="notesMasters/notesMaster1.xml"/><Relationship Id="rId25" Type="http://schemas.openxmlformats.org/officeDocument/2006/relationships/presProps" Target="presProps.xml" /><Relationship Id="rId26" Type="http://schemas.openxmlformats.org/officeDocument/2006/relationships/tableStyles" Target="tableStyles.xml" /><Relationship Id="rId27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4/07/2024</a:t>
            </a:fld>
            <a:endParaRPr lang="en-ID"/>
          </a:p>
        </p:txBody>
      </p:sp>
      <p:sp>
        <p:nvSpPr>
          <p:cNvPr id="4" name="Slide Image Placeholder 3"/>
          <p:cNvSpPr>
            <a:spLocks noChangeAspect="1" noGrp="1" noRo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fauxels?utm_content=attributionCopyText&amp;utm_medium=referral&amp;utm_source=pexels" TargetMode="Externa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 ?>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 ?>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 ?>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 ?>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 ?>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 ?>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 ?>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 ?>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 ?>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 ?>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 ?>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unsplash.com/@officestock?utm_source=unsplash&amp;utm_medium=referral&amp;utm_content=creditCopyText" TargetMode="Externa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 ?>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 ?>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5.xml.rels><?xml version="1.0" encoding="UTF-8" standalone="yes" ?>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 ?>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 ?>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 ?>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 ?>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89848BD-3C4F-6EE1-D48C-AD7BD030E8FD}" type="slidenum">
              <a:rPr/>
              <a:t/>
            </a:fld>
            <a:endParaRPr/>
          </a:p>
        </p:txBody>
      </p:sp>
    </p:spTree>
  </p:cSld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/>
            </a:fld>
            <a:endParaRPr/>
          </a:p>
        </p:txBody>
      </p:sp>
    </p:spTree>
  </p:cSld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/>
            </a:fld>
            <a:endParaRPr/>
          </a:p>
        </p:txBody>
      </p:sp>
    </p:spTree>
  </p:cSld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/>
            </a:fld>
            <a:endParaRPr/>
          </a:p>
        </p:txBody>
      </p:sp>
    </p:spTree>
  </p:cSld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/>
            </a:fld>
            <a:endParaRPr/>
          </a:p>
        </p:txBody>
      </p:sp>
    </p:spTree>
  </p:cSld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/>
            </a:fld>
            <a:endParaRPr/>
          </a:p>
        </p:txBody>
      </p:sp>
    </p:spTree>
  </p:cSld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/>
            </a:fld>
            <a:endParaRPr/>
          </a:p>
        </p:txBody>
      </p:sp>
    </p:spTree>
  </p:cSld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/>
            </a:fld>
            <a:endParaRPr/>
          </a:p>
        </p:txBody>
      </p:sp>
    </p:spTree>
  </p:cSld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/>
            </a:fld>
            <a:endParaRPr/>
          </a:p>
        </p:txBody>
      </p:sp>
    </p:spTree>
  </p:cSld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/>
            </a:fld>
            <a:endParaRPr/>
          </a:p>
        </p:txBody>
      </p:sp>
    </p:spTree>
  </p:cSld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/>
            </a:fld>
            <a:endParaRPr/>
          </a:p>
        </p:txBody>
      </p:sp>
    </p:spTree>
  </p:cSld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9</a:t>
            </a:fld>
            <a:endParaRPr lang="en-ID"/>
          </a:p>
        </p:txBody>
      </p:sp>
    </p:spTree>
  </p:cSld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/>
            </a:fld>
            <a:endParaRPr/>
          </a:p>
        </p:txBody>
      </p:sp>
    </p:spTree>
  </p:cSld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</p:cSld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/>
            </a:fld>
            <a:endParaRPr/>
          </a:p>
        </p:txBody>
      </p:sp>
    </p:spTree>
  </p:cSld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/>
            </a:fld>
            <a:endParaRPr/>
          </a:p>
        </p:txBody>
      </p:sp>
    </p:spTree>
  </p:cSld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/>
            </a:fld>
            <a:endParaRPr/>
          </a:p>
        </p:txBody>
      </p:sp>
    </p:spTree>
  </p:cSld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0647616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46189818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97284843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11ED4A9-6593-2216-3DCD-585C1D79E524}" type="slidenum">
              <a:rPr/>
              <a:t/>
            </a:fld>
            <a:endParaRPr/>
          </a:p>
        </p:txBody>
      </p:sp>
    </p:spTree>
  </p:cSld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9132761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51336983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75921108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F4E5B5A-5CA9-9EAA-B7B4-AFDD94D033EC}" type="slidenum">
              <a:rPr/>
              <a:t/>
            </a:fld>
            <a:endParaRPr/>
          </a:p>
        </p:txBody>
      </p:sp>
    </p:spTree>
  </p:cSld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picTx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x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itleAndTx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secHead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Obj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TxTwoObj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Only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Tx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emf"/><Relationship Id="rId1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15" imgW="7772400" imgH="10058400" progId="TCLayout.ActiveDocument.1">
              <p:embed/>
              <p:pic>
                <p:nvPicPr>
                  <p:cNvPr id="6" name="Object 5"/>
                  <p:cNvPicPr/>
                  <p:nvPr/>
                </p:nvPicPr>
                <p:blipFill>
                  <a:blip r:embed="rId14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jp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9.png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0.png"/></Relationships>
</file>

<file path=ppt/slides/_rels/slide1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1.png"/></Relationships>
</file>

<file path=ppt/slides/_rels/slide1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2.png"/></Relationships>
</file>

<file path=ppt/slides/_rels/slide1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3.png"/><Relationship Id="rId4" Type="http://schemas.openxmlformats.org/officeDocument/2006/relationships/image" Target="../media/image14.png"/></Relationships>
</file>

<file path=ppt/slides/_rels/slide1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8.xml"/></Relationships>
</file>

<file path=ppt/slides/_rels/slide1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5" Type="http://schemas.openxmlformats.org/officeDocument/2006/relationships/image" Target="../media/image16.png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23" name="Object 22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en-US" sz="6600"/>
              <a:t>We are </a:t>
            </a:r>
            <a:r>
              <a:rPr lang="en-US" sz="6600"/>
              <a:t>mustrust</a:t>
            </a:r>
            <a:r>
              <a:rPr lang="en-US" sz="6600"/>
              <a:t>!</a:t>
            </a:r>
            <a:endParaRPr lang="en-US" sz="660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91876" y="3281307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 useBgFill="1">
        <p:nvSpPr>
          <p:cNvPr id="10" name="Rectangle 9"/>
          <p:cNvSpPr>
            <a:spLocks noAdjustHandles="1" noChangeArrowheads="1" noChangeAspect="1" noChangeShapeType="1" noEditPoints="1" noGrp="1" noMove="1" noResize="1" noRot="1" noTextEdit="1"/>
          </p:cNvSpPr>
          <p:nvPr/>
        </p:nvSpPr>
        <p:spPr bwMode="auto"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MMU</a:t>
            </a: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部分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"/>
          <p:cNvSpPr/>
          <p:nvPr/>
        </p:nvSpPr>
        <p:spPr bwMode="auto">
          <a:xfrm flipH="0" flipV="0">
            <a:off x="1804002" y="2548252"/>
            <a:ext cx="8271563" cy="228635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使用软件模拟，实现了一个简单的内存管理单元(MMU)模拟器,支持虚拟内存、页表管理、TLB加速以及LRU和FIFO两种页面替换策略。</a:t>
            </a:r>
            <a:endParaRPr sz="2400" b="0" i="0" u="none" strike="noStrike" cap="none" spc="0">
              <a:solidFill>
                <a:srgbClr val="000000"/>
              </a:solidFill>
              <a:latin typeface="Times New Roman"/>
              <a:cs typeface="Times New Roman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用</a:t>
            </a:r>
            <a:r>
              <a:rPr lang="zh-Hans" sz="2400" b="0" i="0" u="none" strike="noStrike" cap="none" spc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链表维护内存帧的使用情况,并提供了一系列函数来处理内存访问、页面错误等操作。</a:t>
            </a:r>
            <a:endParaRPr sz="2400" b="0" i="0" u="none" strike="noStrike" cap="none" spc="0">
              <a:solidFill>
                <a:srgbClr val="000000"/>
              </a:solidFill>
              <a:latin typeface="Times New Roman"/>
              <a:cs typeface="Times New Roman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运行测试程序，统计访存时间</a:t>
            </a:r>
            <a:endParaRPr sz="2400" b="0" i="0" u="none" strike="noStrike" cap="none" spc="0">
              <a:solidFill>
                <a:srgbClr val="000000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——关键函数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"/>
          <p:cNvSpPr/>
          <p:nvPr/>
        </p:nvSpPr>
        <p:spPr bwMode="auto">
          <a:xfrm flipH="0" flipV="0"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——关键函数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"/>
          <p:cNvSpPr/>
          <p:nvPr/>
        </p:nvSpPr>
        <p:spPr bwMode="auto">
          <a:xfrm flipH="0" flipV="0"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——关键函数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"/>
          <p:cNvSpPr/>
          <p:nvPr/>
        </p:nvSpPr>
        <p:spPr bwMode="auto">
          <a:xfrm flipH="0" flipV="0"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——关键函数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"/>
          <p:cNvSpPr/>
          <p:nvPr/>
        </p:nvSpPr>
        <p:spPr bwMode="auto">
          <a:xfrm flipH="0" flipV="0"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——模拟结果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"/>
          <p:cNvSpPr txBox="1"/>
          <p:nvPr/>
        </p:nvSpPr>
        <p:spPr bwMode="auto">
          <a:xfrm flipH="0" flipV="0"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upright="0" compatLnSpc="0">
            <a:spAutoFit/>
          </a:bodyPr>
          <a:p>
            <a:pPr>
              <a:defRPr/>
            </a:pPr>
            <a:r>
              <a:rPr/>
              <a:t>TODO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——bindgen方案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"/>
          <p:cNvSpPr txBox="1"/>
          <p:nvPr/>
        </p:nvSpPr>
        <p:spPr bwMode="auto">
          <a:xfrm flipH="0" flipV="0">
            <a:off x="700123" y="1952623"/>
            <a:ext cx="7954095" cy="12282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 marL="349965" indent="-349965">
              <a:buFont typeface="Arial"/>
              <a:buChar char="•"/>
              <a:defRPr/>
            </a:pPr>
            <a:r>
              <a:rPr sz="2400"/>
              <a:t>用 wrapper.c  include 所有头文件。</a:t>
            </a:r>
            <a:endParaRPr sz="2400"/>
          </a:p>
          <a:p>
            <a:pPr marL="283879" indent="-283879">
              <a:buFont typeface="Arial"/>
              <a:buChar char="•"/>
              <a:defRPr/>
            </a:pPr>
            <a:r>
              <a:rPr sz="2400"/>
              <a:t>再对这一 c 文件进行 bindgen，可以得到干净的 bind.rs（不会生成调用的库函数）</a:t>
            </a:r>
            <a:endParaRPr sz="2400"/>
          </a:p>
        </p:txBody>
      </p:sp>
      <p:pic>
        <p:nvPicPr>
          <p:cNvPr id="1332161019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flipH="0" flipV="0"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4" y="494310"/>
            <a:ext cx="609713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成员与分工</a:t>
            </a:r>
            <a:endParaRPr lang="zh-CN" sz="4400" b="1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阎昶澍：组长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MMU</a:t>
            </a:r>
            <a:r>
              <a:rPr lang="zh-CN"/>
              <a:t>部分，交叉编译与上板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郭东昊：组员，参与</a:t>
            </a:r>
            <a:r>
              <a:rPr lang="en-US"/>
              <a:t>Rust</a:t>
            </a:r>
            <a:r>
              <a:rPr lang="zh-CN"/>
              <a:t>改写，上板与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薄震宇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周翟恩和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王劲博：组员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t="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fill="norm" stroke="1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fill="norm" stroke="1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fill="norm" stroke="1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fill="norm" stroke="1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6097495" cy="762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</a:rPr>
              <a:t>同类项目对比</a:t>
            </a:r>
            <a:endParaRPr lang="zh-CN" sz="4400" b="1"/>
          </a:p>
        </p:txBody>
      </p:sp>
      <p:graphicFrame>
        <p:nvGraphicFramePr>
          <p:cNvPr id="929128887" name=""/>
          <p:cNvGraphicFramePr>
            <a:graphicFrameLocks xmlns:a="http://schemas.openxmlformats.org/drawingml/2006/main"/>
          </p:cNvGraphicFramePr>
          <p:nvPr/>
        </p:nvGraphicFramePr>
        <p:xfrm>
          <a:off x="604874" y="2133599"/>
          <a:ext cx="10847349" cy="2773679"/>
        </p:xfrm>
        <a:graphic>
          <a:graphicData uri="http://schemas.openxmlformats.org/drawingml/2006/table">
            <a:tbl>
              <a:tblPr firstRow="1" firstCol="1" lastRow="0" lastCol="0" bandRow="1" bandCol="0">
                <a:tableStyleId>{5C22544A-7EE6-4342-B048-85BDC9FD1C3A}</a:tableStyleId>
              </a:tblPr>
              <a:tblGrid>
                <a:gridCol w="4376475"/>
                <a:gridCol w="2247378"/>
                <a:gridCol w="2129095"/>
                <a:gridCol w="2094399"/>
              </a:tblGrid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项目完成度\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交叉编译&amp;QEMU模拟器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上板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fill="norm" stroke="1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 bwMode="auto"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fill="norm" stroke="1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fill="norm" stroke="1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fill="norm" stroke="1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fill="norm" stroke="1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/>
          </a:p>
        </p:txBody>
      </p:sp>
      <p:sp>
        <p:nvSpPr>
          <p:cNvPr id="32" name="Title 1"/>
          <p:cNvSpPr txBox="1"/>
          <p:nvPr/>
        </p:nvSpPr>
        <p:spPr bwMode="auto"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545525" y="3187338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545525" y="47022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655093" y="1241946"/>
            <a:ext cx="9096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基本方法：将源码的函数进行拆分为各种简单的函数或方法，然后整合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改写原则：保留源码中的所有函数，函数的命名相应的改为符合</a:t>
            </a:r>
            <a:r>
              <a:rPr lang="en-US"/>
              <a:t>Rust</a:t>
            </a:r>
            <a:r>
              <a:rPr lang="zh-CN"/>
              <a:t>命名规范的版本，如“</a:t>
            </a:r>
            <a:r>
              <a:rPr lang="en-US"/>
              <a:t>vInitialiseList</a:t>
            </a:r>
            <a:r>
              <a:rPr lang="zh-CN"/>
              <a:t>”改为“</a:t>
            </a:r>
            <a:r>
              <a:rPr lang="en-US"/>
              <a:t>initialize_list</a:t>
            </a:r>
            <a:r>
              <a:rPr lang="zh-CN"/>
              <a:t>”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上板时为</a:t>
            </a:r>
            <a:r>
              <a:rPr lang="en-US"/>
              <a:t>no-std</a:t>
            </a:r>
            <a:r>
              <a:rPr lang="zh-CN"/>
              <a:t>环境，这意味着不支持</a:t>
            </a:r>
            <a:r>
              <a:rPr lang="en-US"/>
              <a:t>std</a:t>
            </a:r>
            <a:r>
              <a:rPr lang="zh-CN"/>
              <a:t>库。编译时报错如下图。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解决方案：使用</a:t>
            </a:r>
            <a:r>
              <a:rPr lang="en-US"/>
              <a:t>no-std</a:t>
            </a:r>
            <a:r>
              <a:rPr lang="zh-CN"/>
              <a:t>环境支持的库如</a:t>
            </a:r>
            <a:r>
              <a:rPr lang="en-US"/>
              <a:t>core</a:t>
            </a:r>
            <a:r>
              <a:rPr lang="zh-CN"/>
              <a:t>，</a:t>
            </a:r>
            <a:r>
              <a:rPr lang="en-US"/>
              <a:t>alloc</a:t>
            </a:r>
            <a:r>
              <a:rPr lang="zh-CN"/>
              <a:t>等来替代</a:t>
            </a:r>
            <a:r>
              <a:rPr lang="en-US"/>
              <a:t>std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core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alloc</a:t>
            </a:r>
            <a:r>
              <a:rPr lang="zh-CN"/>
              <a:t>：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1640941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sp>
        <p:nvSpPr>
          <p:cNvPr id="415095042" name=""/>
          <p:cNvSpPr txBox="1"/>
          <p:nvPr/>
        </p:nvSpPr>
        <p:spPr bwMode="auto">
          <a:xfrm flipH="0" flipV="0">
            <a:off x="1446249" y="2270124"/>
            <a:ext cx="9527159" cy="266880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 marL="283879" indent="-283879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模块简介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FreeRTOS任务管理模块，提供任务的创建、删除、挂起和恢复等操作。</a:t>
            </a:r>
            <a:endParaRPr sz="7200"/>
          </a:p>
          <a:p>
            <a:pPr marL="283879" indent="-283879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核心数据结构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主要数据结构为</a:t>
            </a:r>
            <a:r>
              <a:rPr sz="2400" b="0" i="0" u="none">
                <a:solidFill>
                  <a:srgbClr val="000000"/>
                </a:solidFill>
                <a:latin typeface="Courier New"/>
                <a:ea typeface="Courier New"/>
                <a:cs typeface="Courier New"/>
              </a:rPr>
              <a:t>TaskControlBlock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，包含任务状态、优先级、名称等字段。</a:t>
            </a:r>
            <a:endParaRPr sz="7200"/>
          </a:p>
          <a:p>
            <a:pPr marL="283879" indent="-283879">
              <a:buFont typeface="Arial"/>
              <a:buChar char="•"/>
              <a:defRPr/>
            </a:pPr>
            <a:r>
              <a:rPr sz="28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关键特性</a:t>
            </a:r>
            <a:r>
              <a:rPr sz="28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通过条件编译适应不同配置，提高模块的灵活性和安全性。</a:t>
            </a:r>
            <a:endParaRPr sz="72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7138857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pic>
        <p:nvPicPr>
          <p:cNvPr id="1539640930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7236710" y="460374"/>
            <a:ext cx="4320289" cy="2898774"/>
          </a:xfrm>
          <a:prstGeom prst="rect">
            <a:avLst/>
          </a:prstGeom>
        </p:spPr>
      </p:pic>
      <p:sp>
        <p:nvSpPr>
          <p:cNvPr id="965178960" name=""/>
          <p:cNvSpPr txBox="1"/>
          <p:nvPr/>
        </p:nvSpPr>
        <p:spPr bwMode="auto">
          <a:xfrm flipH="0" flipV="0">
            <a:off x="906499" y="2322649"/>
            <a:ext cx="5562894" cy="207299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upright="0" compatLnSpc="0">
            <a:spAutoFit/>
          </a:bodyPr>
          <a:p>
            <a:pPr marL="371994" indent="-371994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te_list_item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状态列表项。</a:t>
            </a:r>
            <a:endParaRPr sz="4800"/>
          </a:p>
          <a:p>
            <a:pPr marL="371994" indent="-371994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priority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优先级。</a:t>
            </a:r>
            <a:endParaRPr sz="4800"/>
          </a:p>
          <a:p>
            <a:pPr marL="371994" indent="-371994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task_name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任务名称。</a:t>
            </a:r>
            <a:endParaRPr sz="4800"/>
          </a:p>
          <a:p>
            <a:pPr marL="371994" indent="-371994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pointer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指针。</a:t>
            </a:r>
            <a:endParaRPr sz="4800"/>
          </a:p>
          <a:p>
            <a:pPr marL="371994" indent="-371994">
              <a:buFont typeface="Arial"/>
              <a:buChar char="•"/>
              <a:defRPr/>
            </a:pPr>
            <a:r>
              <a:rPr sz="2600" b="1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tack_length</a:t>
            </a:r>
            <a:r>
              <a:rPr sz="26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：堆栈长度。</a:t>
            </a:r>
            <a:endParaRPr sz="480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ONLYOFFICE/8.1.0.169</Application>
  <DocSecurity>0</DocSecurity>
  <PresentationFormat>宽屏</PresentationFormat>
  <Paragraphs>0</Paragraphs>
  <Slides>20</Slides>
  <Notes>20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dc:identifier/>
  <dc:language/>
  <cp:lastModifiedBy/>
  <cp:revision>242</cp:revision>
  <dcterms:created xsi:type="dcterms:W3CDTF">2019-08-16T12:08:31Z</dcterms:created>
  <dcterms:modified xsi:type="dcterms:W3CDTF">2024-07-05T07:05:50Z</dcterms:modified>
  <cp:category/>
  <cp:contentStatus/>
  <cp:version/>
</cp:coreProperties>
</file>